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3.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8" r:id="rId5"/>
    <p:sldMasterId id="2147483769" r:id="rId6"/>
  </p:sldMasterIdLst>
  <p:notesMasterIdLst>
    <p:notesMasterId r:id="rId9"/>
  </p:notesMasterIdLst>
  <p:sldIdLst>
    <p:sldId id="2147375723" r:id="rId7"/>
    <p:sldId id="2147375724"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E61E3B-709B-427E-8E24-66042CFE4C31}" v="8" dt="2021-07-27T23:30:56.8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d6171631-3d08-453d-8afd-2dc62a5026e2" providerId="ADAL" clId="{41E61E3B-709B-427E-8E24-66042CFE4C31}"/>
    <pc:docChg chg="undo custSel addSld delSld modSld">
      <pc:chgData name="Ajwaliya, Nishit" userId="d6171631-3d08-453d-8afd-2dc62a5026e2" providerId="ADAL" clId="{41E61E3B-709B-427E-8E24-66042CFE4C31}" dt="2021-07-27T23:35:21.121" v="268" actId="20577"/>
      <pc:docMkLst>
        <pc:docMk/>
      </pc:docMkLst>
      <pc:sldChg chg="del">
        <pc:chgData name="Ajwaliya, Nishit" userId="d6171631-3d08-453d-8afd-2dc62a5026e2" providerId="ADAL" clId="{41E61E3B-709B-427E-8E24-66042CFE4C31}" dt="2021-07-27T23:25:21.028" v="12" actId="47"/>
        <pc:sldMkLst>
          <pc:docMk/>
          <pc:sldMk cId="1856581679" sldId="724"/>
        </pc:sldMkLst>
      </pc:sldChg>
      <pc:sldChg chg="del">
        <pc:chgData name="Ajwaliya, Nishit" userId="d6171631-3d08-453d-8afd-2dc62a5026e2" providerId="ADAL" clId="{41E61E3B-709B-427E-8E24-66042CFE4C31}" dt="2021-07-27T23:25:20.181" v="7" actId="47"/>
        <pc:sldMkLst>
          <pc:docMk/>
          <pc:sldMk cId="2712921640" sldId="728"/>
        </pc:sldMkLst>
      </pc:sldChg>
      <pc:sldChg chg="del">
        <pc:chgData name="Ajwaliya, Nishit" userId="d6171631-3d08-453d-8afd-2dc62a5026e2" providerId="ADAL" clId="{41E61E3B-709B-427E-8E24-66042CFE4C31}" dt="2021-07-27T23:25:16.188" v="1" actId="47"/>
        <pc:sldMkLst>
          <pc:docMk/>
          <pc:sldMk cId="3580952526" sldId="730"/>
        </pc:sldMkLst>
      </pc:sldChg>
      <pc:sldChg chg="del">
        <pc:chgData name="Ajwaliya, Nishit" userId="d6171631-3d08-453d-8afd-2dc62a5026e2" providerId="ADAL" clId="{41E61E3B-709B-427E-8E24-66042CFE4C31}" dt="2021-07-27T23:25:16.458" v="2" actId="47"/>
        <pc:sldMkLst>
          <pc:docMk/>
          <pc:sldMk cId="2442747395" sldId="732"/>
        </pc:sldMkLst>
      </pc:sldChg>
      <pc:sldChg chg="del">
        <pc:chgData name="Ajwaliya, Nishit" userId="d6171631-3d08-453d-8afd-2dc62a5026e2" providerId="ADAL" clId="{41E61E3B-709B-427E-8E24-66042CFE4C31}" dt="2021-07-27T23:25:15.725" v="0" actId="47"/>
        <pc:sldMkLst>
          <pc:docMk/>
          <pc:sldMk cId="1383911218" sldId="735"/>
        </pc:sldMkLst>
      </pc:sldChg>
      <pc:sldChg chg="del">
        <pc:chgData name="Ajwaliya, Nishit" userId="d6171631-3d08-453d-8afd-2dc62a5026e2" providerId="ADAL" clId="{41E61E3B-709B-427E-8E24-66042CFE4C31}" dt="2021-07-27T23:25:20.006" v="6" actId="47"/>
        <pc:sldMkLst>
          <pc:docMk/>
          <pc:sldMk cId="1538689941" sldId="2147307531"/>
        </pc:sldMkLst>
      </pc:sldChg>
      <pc:sldChg chg="del">
        <pc:chgData name="Ajwaliya, Nishit" userId="d6171631-3d08-453d-8afd-2dc62a5026e2" providerId="ADAL" clId="{41E61E3B-709B-427E-8E24-66042CFE4C31}" dt="2021-07-27T23:25:20.384" v="8" actId="47"/>
        <pc:sldMkLst>
          <pc:docMk/>
          <pc:sldMk cId="571051800" sldId="2147375713"/>
        </pc:sldMkLst>
      </pc:sldChg>
      <pc:sldChg chg="del">
        <pc:chgData name="Ajwaliya, Nishit" userId="d6171631-3d08-453d-8afd-2dc62a5026e2" providerId="ADAL" clId="{41E61E3B-709B-427E-8E24-66042CFE4C31}" dt="2021-07-27T23:25:20.545" v="9" actId="47"/>
        <pc:sldMkLst>
          <pc:docMk/>
          <pc:sldMk cId="3927488182" sldId="2147375717"/>
        </pc:sldMkLst>
      </pc:sldChg>
      <pc:sldChg chg="del">
        <pc:chgData name="Ajwaliya, Nishit" userId="d6171631-3d08-453d-8afd-2dc62a5026e2" providerId="ADAL" clId="{41E61E3B-709B-427E-8E24-66042CFE4C31}" dt="2021-07-27T23:25:20.664" v="10" actId="47"/>
        <pc:sldMkLst>
          <pc:docMk/>
          <pc:sldMk cId="1516804054" sldId="2147375718"/>
        </pc:sldMkLst>
      </pc:sldChg>
      <pc:sldChg chg="del">
        <pc:chgData name="Ajwaliya, Nishit" userId="d6171631-3d08-453d-8afd-2dc62a5026e2" providerId="ADAL" clId="{41E61E3B-709B-427E-8E24-66042CFE4C31}" dt="2021-07-27T23:25:20.866" v="11" actId="47"/>
        <pc:sldMkLst>
          <pc:docMk/>
          <pc:sldMk cId="1720515625" sldId="2147375719"/>
        </pc:sldMkLst>
      </pc:sldChg>
      <pc:sldChg chg="del">
        <pc:chgData name="Ajwaliya, Nishit" userId="d6171631-3d08-453d-8afd-2dc62a5026e2" providerId="ADAL" clId="{41E61E3B-709B-427E-8E24-66042CFE4C31}" dt="2021-07-27T23:25:21.209" v="13" actId="47"/>
        <pc:sldMkLst>
          <pc:docMk/>
          <pc:sldMk cId="1620558174" sldId="2147375720"/>
        </pc:sldMkLst>
      </pc:sldChg>
      <pc:sldChg chg="del">
        <pc:chgData name="Ajwaliya, Nishit" userId="d6171631-3d08-453d-8afd-2dc62a5026e2" providerId="ADAL" clId="{41E61E3B-709B-427E-8E24-66042CFE4C31}" dt="2021-07-27T23:25:19.817" v="5" actId="47"/>
        <pc:sldMkLst>
          <pc:docMk/>
          <pc:sldMk cId="2047772464" sldId="2147375721"/>
        </pc:sldMkLst>
      </pc:sldChg>
      <pc:sldChg chg="del">
        <pc:chgData name="Ajwaliya, Nishit" userId="d6171631-3d08-453d-8afd-2dc62a5026e2" providerId="ADAL" clId="{41E61E3B-709B-427E-8E24-66042CFE4C31}" dt="2021-07-27T23:25:17.091" v="3" actId="47"/>
        <pc:sldMkLst>
          <pc:docMk/>
          <pc:sldMk cId="3725047074" sldId="2147375722"/>
        </pc:sldMkLst>
      </pc:sldChg>
      <pc:sldChg chg="addSp delSp modSp mod">
        <pc:chgData name="Ajwaliya, Nishit" userId="d6171631-3d08-453d-8afd-2dc62a5026e2" providerId="ADAL" clId="{41E61E3B-709B-427E-8E24-66042CFE4C31}" dt="2021-07-27T23:33:41.771" v="241" actId="1076"/>
        <pc:sldMkLst>
          <pc:docMk/>
          <pc:sldMk cId="3748273605" sldId="2147375723"/>
        </pc:sldMkLst>
        <pc:spChg chg="mod">
          <ac:chgData name="Ajwaliya, Nishit" userId="d6171631-3d08-453d-8afd-2dc62a5026e2" providerId="ADAL" clId="{41E61E3B-709B-427E-8E24-66042CFE4C31}" dt="2021-07-27T23:28:21.455" v="63" actId="20577"/>
          <ac:spMkLst>
            <pc:docMk/>
            <pc:sldMk cId="3748273605" sldId="2147375723"/>
            <ac:spMk id="4" creationId="{401E5806-02BE-4B60-981C-976AF9C60AD1}"/>
          </ac:spMkLst>
        </pc:spChg>
        <pc:graphicFrameChg chg="del">
          <ac:chgData name="Ajwaliya, Nishit" userId="d6171631-3d08-453d-8afd-2dc62a5026e2" providerId="ADAL" clId="{41E61E3B-709B-427E-8E24-66042CFE4C31}" dt="2021-07-27T23:26:02.731" v="14" actId="478"/>
          <ac:graphicFrameMkLst>
            <pc:docMk/>
            <pc:sldMk cId="3748273605" sldId="2147375723"/>
            <ac:graphicFrameMk id="2" creationId="{28CF76D7-8DDD-49E4-8454-C2A3E3450966}"/>
          </ac:graphicFrameMkLst>
        </pc:graphicFrameChg>
        <pc:picChg chg="del">
          <ac:chgData name="Ajwaliya, Nishit" userId="d6171631-3d08-453d-8afd-2dc62a5026e2" providerId="ADAL" clId="{41E61E3B-709B-427E-8E24-66042CFE4C31}" dt="2021-07-27T23:26:02.731" v="14" actId="478"/>
          <ac:picMkLst>
            <pc:docMk/>
            <pc:sldMk cId="3748273605" sldId="2147375723"/>
            <ac:picMk id="3" creationId="{337552B8-5CE7-4750-BE7A-3F4DDC7FFF72}"/>
          </ac:picMkLst>
        </pc:picChg>
        <pc:picChg chg="add del mod">
          <ac:chgData name="Ajwaliya, Nishit" userId="d6171631-3d08-453d-8afd-2dc62a5026e2" providerId="ADAL" clId="{41E61E3B-709B-427E-8E24-66042CFE4C31}" dt="2021-07-27T23:26:42.312" v="18" actId="478"/>
          <ac:picMkLst>
            <pc:docMk/>
            <pc:sldMk cId="3748273605" sldId="2147375723"/>
            <ac:picMk id="6" creationId="{C226B6D0-DD8C-4CD1-A821-5BEB9A6C027F}"/>
          </ac:picMkLst>
        </pc:picChg>
        <pc:picChg chg="add del mod">
          <ac:chgData name="Ajwaliya, Nishit" userId="d6171631-3d08-453d-8afd-2dc62a5026e2" providerId="ADAL" clId="{41E61E3B-709B-427E-8E24-66042CFE4C31}" dt="2021-07-27T23:27:16.806" v="22" actId="478"/>
          <ac:picMkLst>
            <pc:docMk/>
            <pc:sldMk cId="3748273605" sldId="2147375723"/>
            <ac:picMk id="8" creationId="{C2192732-4FD2-43D9-A53A-70902A288C5F}"/>
          </ac:picMkLst>
        </pc:picChg>
        <pc:picChg chg="add del mod">
          <ac:chgData name="Ajwaliya, Nishit" userId="d6171631-3d08-453d-8afd-2dc62a5026e2" providerId="ADAL" clId="{41E61E3B-709B-427E-8E24-66042CFE4C31}" dt="2021-07-27T23:33:38.309" v="239" actId="478"/>
          <ac:picMkLst>
            <pc:docMk/>
            <pc:sldMk cId="3748273605" sldId="2147375723"/>
            <ac:picMk id="10" creationId="{6C881921-CC0E-40E6-8E0A-37875596DFD3}"/>
          </ac:picMkLst>
        </pc:picChg>
        <pc:picChg chg="add mod">
          <ac:chgData name="Ajwaliya, Nishit" userId="d6171631-3d08-453d-8afd-2dc62a5026e2" providerId="ADAL" clId="{41E61E3B-709B-427E-8E24-66042CFE4C31}" dt="2021-07-27T23:27:56.482" v="33" actId="14100"/>
          <ac:picMkLst>
            <pc:docMk/>
            <pc:sldMk cId="3748273605" sldId="2147375723"/>
            <ac:picMk id="12" creationId="{656463EB-40B3-432B-ABF7-890CB588AA2B}"/>
          </ac:picMkLst>
        </pc:picChg>
        <pc:picChg chg="add mod">
          <ac:chgData name="Ajwaliya, Nishit" userId="d6171631-3d08-453d-8afd-2dc62a5026e2" providerId="ADAL" clId="{41E61E3B-709B-427E-8E24-66042CFE4C31}" dt="2021-07-27T23:33:41.771" v="241" actId="1076"/>
          <ac:picMkLst>
            <pc:docMk/>
            <pc:sldMk cId="3748273605" sldId="2147375723"/>
            <ac:picMk id="14" creationId="{0CCC4D33-09E5-4DA5-9730-4543D4875D54}"/>
          </ac:picMkLst>
        </pc:picChg>
      </pc:sldChg>
      <pc:sldChg chg="addSp delSp modSp add mod">
        <pc:chgData name="Ajwaliya, Nishit" userId="d6171631-3d08-453d-8afd-2dc62a5026e2" providerId="ADAL" clId="{41E61E3B-709B-427E-8E24-66042CFE4C31}" dt="2021-07-27T23:35:21.121" v="268" actId="20577"/>
        <pc:sldMkLst>
          <pc:docMk/>
          <pc:sldMk cId="3183067039" sldId="2147375724"/>
        </pc:sldMkLst>
        <pc:spChg chg="mod">
          <ac:chgData name="Ajwaliya, Nishit" userId="d6171631-3d08-453d-8afd-2dc62a5026e2" providerId="ADAL" clId="{41E61E3B-709B-427E-8E24-66042CFE4C31}" dt="2021-07-27T23:28:52.895" v="125" actId="20577"/>
          <ac:spMkLst>
            <pc:docMk/>
            <pc:sldMk cId="3183067039" sldId="2147375724"/>
            <ac:spMk id="4" creationId="{401E5806-02BE-4B60-981C-976AF9C60AD1}"/>
          </ac:spMkLst>
        </pc:spChg>
        <pc:graphicFrameChg chg="add mod modGraphic">
          <ac:chgData name="Ajwaliya, Nishit" userId="d6171631-3d08-453d-8afd-2dc62a5026e2" providerId="ADAL" clId="{41E61E3B-709B-427E-8E24-66042CFE4C31}" dt="2021-07-27T23:35:21.121" v="268" actId="20577"/>
          <ac:graphicFrameMkLst>
            <pc:docMk/>
            <pc:sldMk cId="3183067039" sldId="2147375724"/>
            <ac:graphicFrameMk id="2" creationId="{12D9A9EB-CD4F-41A5-983F-EEF2232FA28E}"/>
          </ac:graphicFrameMkLst>
        </pc:graphicFrameChg>
        <pc:picChg chg="del">
          <ac:chgData name="Ajwaliya, Nishit" userId="d6171631-3d08-453d-8afd-2dc62a5026e2" providerId="ADAL" clId="{41E61E3B-709B-427E-8E24-66042CFE4C31}" dt="2021-07-27T23:28:55.363" v="126" actId="478"/>
          <ac:picMkLst>
            <pc:docMk/>
            <pc:sldMk cId="3183067039" sldId="2147375724"/>
            <ac:picMk id="10" creationId="{6C881921-CC0E-40E6-8E0A-37875596DFD3}"/>
          </ac:picMkLst>
        </pc:picChg>
        <pc:picChg chg="del">
          <ac:chgData name="Ajwaliya, Nishit" userId="d6171631-3d08-453d-8afd-2dc62a5026e2" providerId="ADAL" clId="{41E61E3B-709B-427E-8E24-66042CFE4C31}" dt="2021-07-27T23:28:57.222" v="127" actId="478"/>
          <ac:picMkLst>
            <pc:docMk/>
            <pc:sldMk cId="3183067039" sldId="2147375724"/>
            <ac:picMk id="12" creationId="{656463EB-40B3-432B-ABF7-890CB588AA2B}"/>
          </ac:picMkLst>
        </pc:picChg>
      </pc:sldChg>
      <pc:sldChg chg="del">
        <pc:chgData name="Ajwaliya, Nishit" userId="d6171631-3d08-453d-8afd-2dc62a5026e2" providerId="ADAL" clId="{41E61E3B-709B-427E-8E24-66042CFE4C31}" dt="2021-07-27T23:25:19.597" v="4" actId="47"/>
        <pc:sldMkLst>
          <pc:docMk/>
          <pc:sldMk cId="3780307552" sldId="2147375724"/>
        </pc:sldMkLst>
      </pc:sldChg>
      <pc:sldMasterChg chg="delSldLayout">
        <pc:chgData name="Ajwaliya, Nishit" userId="d6171631-3d08-453d-8afd-2dc62a5026e2" providerId="ADAL" clId="{41E61E3B-709B-427E-8E24-66042CFE4C31}" dt="2021-07-27T23:25:20.181" v="7" actId="47"/>
        <pc:sldMasterMkLst>
          <pc:docMk/>
          <pc:sldMasterMk cId="397286640" sldId="2147483660"/>
        </pc:sldMasterMkLst>
        <pc:sldLayoutChg chg="del">
          <pc:chgData name="Ajwaliya, Nishit" userId="d6171631-3d08-453d-8afd-2dc62a5026e2" providerId="ADAL" clId="{41E61E3B-709B-427E-8E24-66042CFE4C31}" dt="2021-07-27T23:25:20.181" v="7" actId="47"/>
          <pc:sldLayoutMkLst>
            <pc:docMk/>
            <pc:sldMasterMk cId="397286640" sldId="2147483660"/>
            <pc:sldLayoutMk cId="3049220313" sldId="2147483747"/>
          </pc:sldLayoutMkLst>
        </pc:sldLayoutChg>
        <pc:sldLayoutChg chg="del">
          <pc:chgData name="Ajwaliya, Nishit" userId="d6171631-3d08-453d-8afd-2dc62a5026e2" providerId="ADAL" clId="{41E61E3B-709B-427E-8E24-66042CFE4C31}" dt="2021-07-27T23:25:20.006" v="6" actId="47"/>
          <pc:sldLayoutMkLst>
            <pc:docMk/>
            <pc:sldMasterMk cId="397286640" sldId="2147483660"/>
            <pc:sldLayoutMk cId="1348868662" sldId="2147483856"/>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55CBC8-1677-482D-B2ED-619B2A9E0AB9}" type="datetimeFigureOut">
              <a:rPr lang="en-US" smtClean="0"/>
              <a:t>7/2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EB1A68-65CC-4E97-ABB7-B5F1754B5416}" type="slidenum">
              <a:rPr lang="en-US" smtClean="0"/>
              <a:t>‹#›</a:t>
            </a:fld>
            <a:endParaRPr lang="en-US"/>
          </a:p>
        </p:txBody>
      </p:sp>
    </p:spTree>
    <p:extLst>
      <p:ext uri="{BB962C8B-B14F-4D97-AF65-F5344CB8AC3E}">
        <p14:creationId xmlns:p14="http://schemas.microsoft.com/office/powerpoint/2010/main" val="36049029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76.bin"/><Relationship Id="rId9"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77.bin"/><Relationship Id="rId9" Type="http://schemas.openxmlformats.org/officeDocument/2006/relationships/image" Target="../media/image6.png"/></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8.emf"/><Relationship Id="rId4" Type="http://schemas.openxmlformats.org/officeDocument/2006/relationships/oleObject" Target="../embeddings/oleObject7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8.emf"/><Relationship Id="rId4" Type="http://schemas.openxmlformats.org/officeDocument/2006/relationships/oleObject" Target="../embeddings/oleObject8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8.emf"/><Relationship Id="rId4" Type="http://schemas.openxmlformats.org/officeDocument/2006/relationships/oleObject" Target="../embeddings/oleObject81.bin"/></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130.xml"/><Relationship Id="rId4"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131.xml"/><Relationship Id="rId4"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5.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13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138.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89.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9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54.xml"/><Relationship Id="rId4" Type="http://schemas.openxmlformats.org/officeDocument/2006/relationships/image" Target="../media/image8.emf"/></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98.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5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8.emf"/><Relationship Id="rId4" Type="http://schemas.openxmlformats.org/officeDocument/2006/relationships/oleObject" Target="../embeddings/oleObject99.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58.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61.xml"/><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62.xml"/><Relationship Id="rId4" Type="http://schemas.openxmlformats.org/officeDocument/2006/relationships/image" Target="../media/image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63.xml"/><Relationship Id="rId4" Type="http://schemas.openxmlformats.org/officeDocument/2006/relationships/image" Target="../media/image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64.xml"/><Relationship Id="rId4" Type="http://schemas.openxmlformats.org/officeDocument/2006/relationships/image" Target="../media/image2.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65.xml"/><Relationship Id="rId4" Type="http://schemas.openxmlformats.org/officeDocument/2006/relationships/image" Target="../media/image8.emf"/></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07.bin"/><Relationship Id="rId9" Type="http://schemas.openxmlformats.org/officeDocument/2006/relationships/image" Target="../media/image6.pn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08.bin"/><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8.emf"/><Relationship Id="rId4" Type="http://schemas.openxmlformats.org/officeDocument/2006/relationships/oleObject" Target="../embeddings/oleObject11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8.emf"/><Relationship Id="rId4" Type="http://schemas.openxmlformats.org/officeDocument/2006/relationships/oleObject" Target="../embeddings/oleObject11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8.emf"/><Relationship Id="rId4" Type="http://schemas.openxmlformats.org/officeDocument/2006/relationships/oleObject" Target="../embeddings/oleObject11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8.emf"/><Relationship Id="rId4" Type="http://schemas.openxmlformats.org/officeDocument/2006/relationships/oleObject" Target="../embeddings/oleObject11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8.emf"/><Relationship Id="rId4" Type="http://schemas.openxmlformats.org/officeDocument/2006/relationships/oleObject" Target="../embeddings/oleObject11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8.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9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9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121.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94.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207.xml"/><Relationship Id="rId4" Type="http://schemas.openxmlformats.org/officeDocument/2006/relationships/image" Target="../media/image8.emf"/></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8.emf"/><Relationship Id="rId4" Type="http://schemas.openxmlformats.org/officeDocument/2006/relationships/oleObject" Target="../embeddings/oleObject130.bin"/></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210.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8.emf"/><Relationship Id="rId4" Type="http://schemas.openxmlformats.org/officeDocument/2006/relationships/oleObject" Target="../embeddings/oleObject132.bin"/></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3.xml"/><Relationship Id="rId1" Type="http://schemas.openxmlformats.org/officeDocument/2006/relationships/tags" Target="../tags/tag213.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214.xml"/><Relationship Id="rId4" Type="http://schemas.openxmlformats.org/officeDocument/2006/relationships/image" Target="../media/image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3.xml"/><Relationship Id="rId1" Type="http://schemas.openxmlformats.org/officeDocument/2006/relationships/tags" Target="../tags/tag215.xml"/><Relationship Id="rId4" Type="http://schemas.openxmlformats.org/officeDocument/2006/relationships/image" Target="../media/image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3.xml"/><Relationship Id="rId1" Type="http://schemas.openxmlformats.org/officeDocument/2006/relationships/tags" Target="../tags/tag216.xml"/><Relationship Id="rId4" Type="http://schemas.openxmlformats.org/officeDocument/2006/relationships/image" Target="../media/image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217.xml"/><Relationship Id="rId4" Type="http://schemas.openxmlformats.org/officeDocument/2006/relationships/image" Target="../media/image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218.xm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221.xml"/><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222.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22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226.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227.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22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22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3.xml"/><Relationship Id="rId1" Type="http://schemas.openxmlformats.org/officeDocument/2006/relationships/tags" Target="../tags/tag230.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4.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3.bin"/><Relationship Id="rId9"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4.bin"/><Relationship Id="rId9"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7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7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79.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8.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5.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8.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0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11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11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11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8813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280594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89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6712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31297514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36386042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164460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7" name="Rectangle 26"/>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4"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560001" y="3382040"/>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5"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88640" y="1497028"/>
            <a:ext cx="3464989" cy="1769715"/>
          </a:xfrm>
        </p:spPr>
        <p:txBody>
          <a:bodyPr anchor="b" anchorCtr="0"/>
          <a:lstStyle>
            <a:lvl1pPr>
              <a:defRPr sz="11500">
                <a:solidFill>
                  <a:schemeClr val="bg1"/>
                </a:solidFill>
              </a:defRPr>
            </a:lvl1pPr>
          </a:lstStyle>
          <a:p>
            <a:pPr lvl="0"/>
            <a:r>
              <a:rPr lang="en-US"/>
              <a:t>1</a:t>
            </a:r>
            <a:endParaRPr lang="en-GB"/>
          </a:p>
        </p:txBody>
      </p:sp>
      <p:grpSp>
        <p:nvGrpSpPr>
          <p:cNvPr id="6" name="Group 5"/>
          <p:cNvGrpSpPr/>
          <p:nvPr userDrawn="1"/>
        </p:nvGrpSpPr>
        <p:grpSpPr>
          <a:xfrm>
            <a:off x="568761" y="6133626"/>
            <a:ext cx="2540000" cy="401519"/>
            <a:chOff x="2910342" y="325575"/>
            <a:chExt cx="5928968" cy="1249653"/>
          </a:xfrm>
        </p:grpSpPr>
        <p:sp>
          <p:nvSpPr>
            <p:cNvPr id="7"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26" name="Picture 25"/>
          <p:cNvPicPr>
            <a:picLocks noChangeAspect="1"/>
          </p:cNvPicPr>
          <p:nvPr userDrawn="1"/>
        </p:nvPicPr>
        <p:blipFill rotWithShape="1">
          <a:blip r:embed="rId2"/>
          <a:srcRect r="23305" b="53486"/>
          <a:stretch/>
        </p:blipFill>
        <p:spPr>
          <a:xfrm>
            <a:off x="4587373" y="3179428"/>
            <a:ext cx="7604627" cy="3678572"/>
          </a:xfrm>
          <a:prstGeom prst="rect">
            <a:avLst/>
          </a:prstGeom>
        </p:spPr>
      </p:pic>
    </p:spTree>
    <p:extLst>
      <p:ext uri="{BB962C8B-B14F-4D97-AF65-F5344CB8AC3E}">
        <p14:creationId xmlns:p14="http://schemas.microsoft.com/office/powerpoint/2010/main" val="22756491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361548218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5735" y="1412481"/>
            <a:ext cx="11040533"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609600" y="6245225"/>
            <a:ext cx="2844800" cy="476250"/>
          </a:xfrm>
          <a:prstGeom prst="rect">
            <a:avLst/>
          </a:prstGeom>
          <a:ln/>
        </p:spPr>
        <p:txBody>
          <a:bodyPr/>
          <a:lstStyle>
            <a:lvl1pPr>
              <a:defRPr/>
            </a:lvl1pPr>
          </a:lstStyle>
          <a:p>
            <a:pPr>
              <a:defRPr/>
            </a:pPr>
            <a:fld id="{97F8F123-DAB6-413D-8B37-7C1E6485D6A9}" type="datetime1">
              <a:rPr lang="en-US">
                <a:solidFill>
                  <a:srgbClr val="55555A"/>
                </a:solidFill>
              </a:rPr>
              <a:pPr>
                <a:defRPr/>
              </a:pPr>
              <a:t>7/27/2021</a:t>
            </a:fld>
            <a:endParaRPr lang="en-US">
              <a:solidFill>
                <a:srgbClr val="55555A"/>
              </a:solidFill>
            </a:endParaRPr>
          </a:p>
        </p:txBody>
      </p:sp>
      <p:sp>
        <p:nvSpPr>
          <p:cNvPr id="5" name="Rectangle 5"/>
          <p:cNvSpPr>
            <a:spLocks noGrp="1" noChangeArrowheads="1"/>
          </p:cNvSpPr>
          <p:nvPr>
            <p:ph type="ftr" sz="quarter" idx="11"/>
          </p:nvPr>
        </p:nvSpPr>
        <p:spPr>
          <a:xfrm>
            <a:off x="4165600" y="6552198"/>
            <a:ext cx="3860800" cy="169277"/>
          </a:xfrm>
          <a:prstGeom prst="rect">
            <a:avLst/>
          </a:prstGeom>
          <a:ln/>
        </p:spPr>
        <p:txBody>
          <a:bodyPr/>
          <a:lstStyle>
            <a:lvl1pPr>
              <a:defRPr/>
            </a:lvl1pPr>
          </a:lstStyle>
          <a:p>
            <a:pPr>
              <a:defRPr/>
            </a:pPr>
            <a:endParaRPr lang="en-US">
              <a:solidFill>
                <a:srgbClr val="00148C"/>
              </a:solidFill>
            </a:endParaRPr>
          </a:p>
        </p:txBody>
      </p:sp>
      <p:sp>
        <p:nvSpPr>
          <p:cNvPr id="6" name="Rectangle 6"/>
          <p:cNvSpPr>
            <a:spLocks noGrp="1" noChangeArrowheads="1"/>
          </p:cNvSpPr>
          <p:nvPr>
            <p:ph type="sldNum" sz="quarter" idx="12"/>
          </p:nvPr>
        </p:nvSpPr>
        <p:spPr>
          <a:xfrm>
            <a:off x="9042400" y="6381750"/>
            <a:ext cx="2844800" cy="361950"/>
          </a:xfrm>
          <a:prstGeom prst="rect">
            <a:avLst/>
          </a:prstGeom>
          <a:ln/>
        </p:spPr>
        <p:txBody>
          <a:bodyPr/>
          <a:lstStyle>
            <a:lvl1pPr>
              <a:defRPr/>
            </a:lvl1pPr>
          </a:lstStyle>
          <a:p>
            <a:fld id="{75E05EBF-D7FF-4BFE-AAEA-D1BB0133F22A}" type="slidenum">
              <a:rPr lang="en-US" altLang="en-US">
                <a:solidFill>
                  <a:srgbClr val="55555A"/>
                </a:solidFill>
              </a:rPr>
              <a:pPr/>
              <a:t>‹#›</a:t>
            </a:fld>
            <a:endParaRPr lang="en-US" altLang="en-US">
              <a:solidFill>
                <a:srgbClr val="55555A"/>
              </a:solidFill>
            </a:endParaRPr>
          </a:p>
        </p:txBody>
      </p:sp>
    </p:spTree>
    <p:extLst>
      <p:ext uri="{BB962C8B-B14F-4D97-AF65-F5344CB8AC3E}">
        <p14:creationId xmlns:p14="http://schemas.microsoft.com/office/powerpoint/2010/main" val="33975704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5855432" y="2771098"/>
            <a:ext cx="6336569" cy="4086903"/>
          </a:xfrm>
          <a:prstGeom prst="rect">
            <a:avLst/>
          </a:prstGeom>
        </p:spPr>
      </p:pic>
    </p:spTree>
    <p:extLst>
      <p:ext uri="{BB962C8B-B14F-4D97-AF65-F5344CB8AC3E}">
        <p14:creationId xmlns:p14="http://schemas.microsoft.com/office/powerpoint/2010/main" val="12870586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6398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5463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65278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562582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3054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423774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091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6902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5359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65763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44168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4032573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6083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614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2342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818855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37428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854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820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27998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941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59494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1656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786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7384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0037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36324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91115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546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05782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6804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70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592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18077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3940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2532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9853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48338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6673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4755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70447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054265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228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666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342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73997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09493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074008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2296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9066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854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3915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2194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603470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3357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09735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0997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95380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40168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95402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8362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825251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073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70880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14454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210836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955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274938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2490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147728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418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70630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0214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721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2051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86328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7719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953258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08435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499476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3065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47856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770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304225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27882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795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482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91176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269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75394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9138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5302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849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5395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89303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84056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8010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84865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049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2283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8200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602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255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321281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712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676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081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15646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374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08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230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3958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95050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14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3952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1151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10908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906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6441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77714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725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71896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18235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79119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5825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4480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5486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67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243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538470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81508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907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2351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50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65284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096393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425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37534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056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73422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3602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87894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738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84266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06963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31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62902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353002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48906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2632118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8395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767196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53156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7077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9142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55129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39689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774020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375083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355011711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596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657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87023205"/>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13596929"/>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075048401"/>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309293777"/>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71223877"/>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6296817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1525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447385352"/>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12855144"/>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30465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520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81565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2109007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6381601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85807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454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78282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7073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464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798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30019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75556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135056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962848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6940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2114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930427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2476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614771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30596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080925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9999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3841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44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2242467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7244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79995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6595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32529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8922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887186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4871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037100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74245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631723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256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812020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3676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411256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855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670861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9078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24396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86289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87334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284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91585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5287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2874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08500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3678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903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342839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2613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09312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2936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63010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72561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11944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03729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78045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4770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78014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91976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15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48404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15666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045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621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1116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64373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917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5846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797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1753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9877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48359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7893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6188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9787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58380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3388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27754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095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56605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9421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721118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95878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07547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97927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920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1948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62648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9770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8326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1968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9746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7915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867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44078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07062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788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828098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3980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99858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69332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759389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2704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9334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14391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14776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592151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92586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71831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643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547325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30018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313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92606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30002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9494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21822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135462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397569661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401069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68861474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53369378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6661201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38672980"/>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895233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04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89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67247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7042567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1900759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89435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304543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484036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0488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a:solidFill>
                  <a:srgbClr val="00148C"/>
                </a:solidFill>
              </a:rPr>
              <a:t>| [Insert document title] | [Insert date]</a:t>
            </a:r>
          </a:p>
        </p:txBody>
      </p:sp>
    </p:spTree>
    <p:extLst>
      <p:ext uri="{BB962C8B-B14F-4D97-AF65-F5344CB8AC3E}">
        <p14:creationId xmlns:p14="http://schemas.microsoft.com/office/powerpoint/2010/main" val="316961081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a:solidFill>
                  <a:srgbClr val="00148C"/>
                </a:solidFill>
              </a:rPr>
              <a:t>| [Insert document title] | [Insert date]</a:t>
            </a:r>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defRPr/>
              </a:pPr>
              <a:r>
                <a:rPr lang="en-GB" sz="600" b="1">
                  <a:solidFill>
                    <a:prstClr val="black"/>
                  </a:solidFill>
                  <a:latin typeface="Calibri" panose="020F0502020204030204"/>
                  <a:cs typeface="Arial" panose="020B0604020202020204" pitchFamily="34" charset="0"/>
                </a:rPr>
                <a:t>Reapplying the Slide Layout</a:t>
              </a:r>
            </a:p>
            <a:p>
              <a:pPr marL="0" lvl="2">
                <a:defRPr/>
              </a:pPr>
              <a:r>
                <a:rPr lang="en-GB" sz="6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 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Layou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layout you require</a:t>
              </a:r>
            </a:p>
            <a:p>
              <a:pPr marL="0" lvl="2">
                <a:defRPr/>
              </a:pPr>
              <a:r>
                <a:rPr lang="en-GB" sz="600" b="1">
                  <a:solidFill>
                    <a:prstClr val="black"/>
                  </a:solidFill>
                  <a:latin typeface="Calibri" panose="020F0502020204030204"/>
                  <a:cs typeface="Arial" panose="020B0604020202020204" pitchFamily="34" charset="0"/>
                </a:rPr>
                <a:t>Text bullet formatting</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0" lvl="2">
                <a:defRPr/>
              </a:pPr>
              <a:r>
                <a:rPr lang="en-GB" sz="600">
                  <a:solidFill>
                    <a:prstClr val="black"/>
                  </a:solidFill>
                  <a:latin typeface="Calibri" panose="020F0502020204030204"/>
                  <a:cs typeface="Arial" panose="020B0604020202020204" pitchFamily="34" charset="0"/>
                </a:rPr>
                <a:t>Alternatively you can use the keyboard shortcut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Right arrow key = increase level</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Left arrow key = decrease level</a:t>
              </a:r>
            </a:p>
            <a:p>
              <a:pPr marL="0" lvl="2">
                <a:defRPr/>
              </a:pPr>
              <a:r>
                <a:rPr lang="en-GB" sz="600" b="1">
                  <a:solidFill>
                    <a:prstClr val="black"/>
                  </a:solidFill>
                  <a:latin typeface="Calibri" panose="020F0502020204030204"/>
                  <a:cs typeface="Arial" panose="020B0604020202020204" pitchFamily="34" charset="0"/>
                </a:rPr>
                <a:t>Guide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a:spcAft>
                    <a:spcPts val="273"/>
                  </a:spcAft>
                  <a:defRPr/>
                </a:pPr>
                <a:endParaRPr lang="en-GB" sz="600">
                  <a:solidFill>
                    <a:prstClr val="black"/>
                  </a:solidFill>
                  <a:latin typeface="Calibri" panose="020F0502020204030204"/>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4709702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a:solidFill>
                  <a:srgbClr val="00148C"/>
                </a:solidFill>
              </a:rP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defRPr/>
              </a:pPr>
              <a:r>
                <a:rPr lang="en-GB" sz="600" b="1">
                  <a:solidFill>
                    <a:prstClr val="black"/>
                  </a:solidFill>
                  <a:latin typeface="Calibri" panose="020F0502020204030204"/>
                  <a:cs typeface="Arial" panose="020B0604020202020204" pitchFamily="34" charset="0"/>
                </a:rPr>
                <a:t>Reapplying the Slide Layout</a:t>
              </a:r>
            </a:p>
            <a:p>
              <a:pPr marL="0" lvl="2">
                <a:defRPr/>
              </a:pPr>
              <a:r>
                <a:rPr lang="en-GB" sz="6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 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Layou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layout you require</a:t>
              </a:r>
            </a:p>
            <a:p>
              <a:pPr marL="0" lvl="2">
                <a:defRPr/>
              </a:pPr>
              <a:r>
                <a:rPr lang="en-GB" sz="600" b="1">
                  <a:solidFill>
                    <a:prstClr val="black"/>
                  </a:solidFill>
                  <a:latin typeface="Calibri" panose="020F0502020204030204"/>
                  <a:cs typeface="Arial" panose="020B0604020202020204" pitchFamily="34" charset="0"/>
                </a:rPr>
                <a:t>Text bullet formatting</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0" lvl="2">
                <a:defRPr/>
              </a:pPr>
              <a:r>
                <a:rPr lang="en-GB" sz="600">
                  <a:solidFill>
                    <a:prstClr val="black"/>
                  </a:solidFill>
                  <a:latin typeface="Calibri" panose="020F0502020204030204"/>
                  <a:cs typeface="Arial" panose="020B0604020202020204" pitchFamily="34" charset="0"/>
                </a:rPr>
                <a:t>Alternatively you can use the keyboard shortcut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Right arrow key = increase level</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Left arrow key = decrease level</a:t>
              </a:r>
            </a:p>
            <a:p>
              <a:pPr marL="0" lvl="2">
                <a:defRPr/>
              </a:pPr>
              <a:r>
                <a:rPr lang="en-GB" sz="600" b="1">
                  <a:solidFill>
                    <a:prstClr val="black"/>
                  </a:solidFill>
                  <a:latin typeface="Calibri" panose="020F0502020204030204"/>
                  <a:cs typeface="Arial" panose="020B0604020202020204" pitchFamily="34" charset="0"/>
                </a:rPr>
                <a:t>Guide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a:spcAft>
                    <a:spcPts val="273"/>
                  </a:spcAft>
                  <a:defRPr/>
                </a:pPr>
                <a:endParaRPr lang="en-GB" sz="600">
                  <a:solidFill>
                    <a:prstClr val="black"/>
                  </a:solidFill>
                  <a:latin typeface="Calibri" panose="020F0502020204030204"/>
                </a:endParaRPr>
              </a:p>
            </p:txBody>
          </p:sp>
        </p:grpSp>
      </p:grpSp>
    </p:spTree>
    <p:extLst>
      <p:ext uri="{BB962C8B-B14F-4D97-AF65-F5344CB8AC3E}">
        <p14:creationId xmlns:p14="http://schemas.microsoft.com/office/powerpoint/2010/main" val="3562799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220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41277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a:solidFill>
                  <a:srgbClr val="00148C"/>
                </a:solidFill>
              </a:rP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buClr>
                <a:srgbClr val="4472C4"/>
              </a:buClr>
              <a:buFont typeface="Arial" panose="020B0604020202020204" pitchFamily="34" charset="0"/>
              <a:buNone/>
              <a:defRPr/>
            </a:pPr>
            <a:r>
              <a:rPr lang="en-GB" sz="600" b="1">
                <a:solidFill>
                  <a:prstClr val="black"/>
                </a:solidFill>
                <a:latin typeface="Calibri" panose="020F0502020204030204"/>
                <a:cs typeface="Arial" panose="020B0604020202020204" pitchFamily="34" charset="0"/>
              </a:rPr>
              <a:t>Insert a char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chart icon and select the chart you requir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Format the char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Update the chart title text box</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Update source and notes</a:t>
            </a:r>
          </a:p>
          <a:p>
            <a:pPr marL="0" lvl="2">
              <a:buClr>
                <a:srgbClr val="4472C4"/>
              </a:buCl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pdate existing chart</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existing chart and delet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steps for inserting a chart above</a:t>
            </a:r>
            <a:endParaRPr lang="en-GB" sz="60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2852297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285508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r>
              <a:rPr lang="en-GB" sz="1400">
                <a:solidFill>
                  <a:prstClr val="black"/>
                </a:solidFill>
                <a:latin typeface="Calibri" panose="020F0502020204030204"/>
                <a:cs typeface="Arial" panose="020B0604020202020204" pitchFamily="34" charset="0"/>
              </a:rPr>
              <a:t>There are 3 options for covers and 2 for divider pages. Please delete any options you aren’t using.</a:t>
            </a:r>
          </a:p>
        </p:txBody>
      </p:sp>
    </p:spTree>
    <p:extLst>
      <p:ext uri="{BB962C8B-B14F-4D97-AF65-F5344CB8AC3E}">
        <p14:creationId xmlns:p14="http://schemas.microsoft.com/office/powerpoint/2010/main" val="248363116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1112141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7761129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210636802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1132403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7" name="Rectangle 26"/>
          <p:cNvSpPr/>
          <p:nvPr userDrawn="1"/>
        </p:nvSpPr>
        <p:spPr bwMode="auto">
          <a:xfrm>
            <a:off x="0" y="-1"/>
            <a:ext cx="12236741" cy="691726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3" name="Footer Placeholder 2"/>
          <p:cNvSpPr>
            <a:spLocks noGrp="1"/>
          </p:cNvSpPr>
          <p:nvPr>
            <p:ph type="ftr" sz="quarter" idx="10"/>
          </p:nvPr>
        </p:nvSpPr>
        <p:spPr/>
        <p:txBody>
          <a:bodyPr/>
          <a:lstStyle/>
          <a:p>
            <a:pPr>
              <a:tabLst>
                <a:tab pos="989013" algn="l"/>
              </a:tabLst>
            </a:pPr>
            <a:r>
              <a:rPr lang="fr-FR">
                <a:solidFill>
                  <a:srgbClr val="00148C"/>
                </a:solidFill>
              </a:rPr>
              <a:t>| [Insert document title] | [Insert date]</a:t>
            </a: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73321"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1"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6" name="Picture 5"/>
          <p:cNvPicPr>
            <a:picLocks noChangeAspect="1"/>
          </p:cNvPicPr>
          <p:nvPr userDrawn="1"/>
        </p:nvPicPr>
        <p:blipFill rotWithShape="1">
          <a:blip r:embed="rId2"/>
          <a:srcRect l="7480" t="27066" r="32612"/>
          <a:stretch/>
        </p:blipFill>
        <p:spPr>
          <a:xfrm rot="16200000" flipV="1">
            <a:off x="6352064" y="180562"/>
            <a:ext cx="6065240" cy="5704115"/>
          </a:xfrm>
          <a:prstGeom prst="rect">
            <a:avLst/>
          </a:prstGeom>
        </p:spPr>
      </p:pic>
      <p:grpSp>
        <p:nvGrpSpPr>
          <p:cNvPr id="7" name="Group 6"/>
          <p:cNvGrpSpPr/>
          <p:nvPr userDrawn="1"/>
        </p:nvGrpSpPr>
        <p:grpSpPr>
          <a:xfrm>
            <a:off x="568761" y="6133626"/>
            <a:ext cx="2540000" cy="40151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6"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193032191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40931" y="141182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7" name="Picture 6"/>
          <p:cNvPicPr>
            <a:picLocks noChangeAspect="1"/>
          </p:cNvPicPr>
          <p:nvPr userDrawn="1"/>
        </p:nvPicPr>
        <p:blipFill rotWithShape="1">
          <a:blip r:embed="rId2"/>
          <a:srcRect l="7480" t="27066" r="32612"/>
          <a:stretch/>
        </p:blipFill>
        <p:spPr>
          <a:xfrm flipV="1">
            <a:off x="3758268" y="2267566"/>
            <a:ext cx="8422547" cy="4607213"/>
          </a:xfrm>
          <a:prstGeom prst="rect">
            <a:avLst/>
          </a:prstGeom>
        </p:spPr>
      </p:pic>
      <p:grpSp>
        <p:nvGrpSpPr>
          <p:cNvPr id="8" name="Group 7"/>
          <p:cNvGrpSpPr/>
          <p:nvPr userDrawn="1"/>
        </p:nvGrpSpPr>
        <p:grpSpPr>
          <a:xfrm>
            <a:off x="568761" y="6133626"/>
            <a:ext cx="2540000" cy="401519"/>
            <a:chOff x="2910342" y="325575"/>
            <a:chExt cx="5928968" cy="1249653"/>
          </a:xfrm>
        </p:grpSpPr>
        <p:sp>
          <p:nvSpPr>
            <p:cNvPr id="9"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6"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7"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236390810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5805335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413789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ags" Target="../tags/tag1.xml"/><Relationship Id="rId9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2.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55" Type="http://schemas.openxmlformats.org/officeDocument/2006/relationships/slideLayout" Target="../slideLayouts/slideLayout161.xml"/><Relationship Id="rId63" Type="http://schemas.openxmlformats.org/officeDocument/2006/relationships/slideLayout" Target="../slideLayouts/slideLayout169.xml"/><Relationship Id="rId68" Type="http://schemas.openxmlformats.org/officeDocument/2006/relationships/slideLayout" Target="../slideLayouts/slideLayout174.xml"/><Relationship Id="rId76" Type="http://schemas.openxmlformats.org/officeDocument/2006/relationships/slideLayout" Target="../slideLayouts/slideLayout182.xml"/><Relationship Id="rId84" Type="http://schemas.openxmlformats.org/officeDocument/2006/relationships/slideLayout" Target="../slideLayouts/slideLayout190.xml"/><Relationship Id="rId89" Type="http://schemas.openxmlformats.org/officeDocument/2006/relationships/tags" Target="../tags/tag117.xml"/><Relationship Id="rId7" Type="http://schemas.openxmlformats.org/officeDocument/2006/relationships/slideLayout" Target="../slideLayouts/slideLayout113.xml"/><Relationship Id="rId71" Type="http://schemas.openxmlformats.org/officeDocument/2006/relationships/slideLayout" Target="../slideLayouts/slideLayout177.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slideLayout" Target="../slideLayouts/slideLayout159.xml"/><Relationship Id="rId58" Type="http://schemas.openxmlformats.org/officeDocument/2006/relationships/slideLayout" Target="../slideLayouts/slideLayout164.xml"/><Relationship Id="rId66" Type="http://schemas.openxmlformats.org/officeDocument/2006/relationships/slideLayout" Target="../slideLayouts/slideLayout172.xml"/><Relationship Id="rId74" Type="http://schemas.openxmlformats.org/officeDocument/2006/relationships/slideLayout" Target="../slideLayouts/slideLayout180.xml"/><Relationship Id="rId79" Type="http://schemas.openxmlformats.org/officeDocument/2006/relationships/slideLayout" Target="../slideLayouts/slideLayout185.xml"/><Relationship Id="rId87" Type="http://schemas.openxmlformats.org/officeDocument/2006/relationships/theme" Target="../theme/theme3.xml"/><Relationship Id="rId5" Type="http://schemas.openxmlformats.org/officeDocument/2006/relationships/slideLayout" Target="../slideLayouts/slideLayout111.xml"/><Relationship Id="rId61" Type="http://schemas.openxmlformats.org/officeDocument/2006/relationships/slideLayout" Target="../slideLayouts/slideLayout167.xml"/><Relationship Id="rId82" Type="http://schemas.openxmlformats.org/officeDocument/2006/relationships/slideLayout" Target="../slideLayouts/slideLayout188.xml"/><Relationship Id="rId90" Type="http://schemas.openxmlformats.org/officeDocument/2006/relationships/oleObject" Target="../embeddings/oleObject75.bin"/><Relationship Id="rId19" Type="http://schemas.openxmlformats.org/officeDocument/2006/relationships/slideLayout" Target="../slideLayouts/slideLayout12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56" Type="http://schemas.openxmlformats.org/officeDocument/2006/relationships/slideLayout" Target="../slideLayouts/slideLayout162.xml"/><Relationship Id="rId64" Type="http://schemas.openxmlformats.org/officeDocument/2006/relationships/slideLayout" Target="../slideLayouts/slideLayout170.xml"/><Relationship Id="rId69" Type="http://schemas.openxmlformats.org/officeDocument/2006/relationships/slideLayout" Target="../slideLayouts/slideLayout175.xml"/><Relationship Id="rId77" Type="http://schemas.openxmlformats.org/officeDocument/2006/relationships/slideLayout" Target="../slideLayouts/slideLayout183.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72" Type="http://schemas.openxmlformats.org/officeDocument/2006/relationships/slideLayout" Target="../slideLayouts/slideLayout178.xml"/><Relationship Id="rId80" Type="http://schemas.openxmlformats.org/officeDocument/2006/relationships/slideLayout" Target="../slideLayouts/slideLayout186.xml"/><Relationship Id="rId85" Type="http://schemas.openxmlformats.org/officeDocument/2006/relationships/slideLayout" Target="../slideLayouts/slideLayout191.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59" Type="http://schemas.openxmlformats.org/officeDocument/2006/relationships/slideLayout" Target="../slideLayouts/slideLayout165.xml"/><Relationship Id="rId67" Type="http://schemas.openxmlformats.org/officeDocument/2006/relationships/slideLayout" Target="../slideLayouts/slideLayout173.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slideLayout" Target="../slideLayouts/slideLayout160.xml"/><Relationship Id="rId62" Type="http://schemas.openxmlformats.org/officeDocument/2006/relationships/slideLayout" Target="../slideLayouts/slideLayout168.xml"/><Relationship Id="rId70" Type="http://schemas.openxmlformats.org/officeDocument/2006/relationships/slideLayout" Target="../slideLayouts/slideLayout176.xml"/><Relationship Id="rId75" Type="http://schemas.openxmlformats.org/officeDocument/2006/relationships/slideLayout" Target="../slideLayouts/slideLayout181.xml"/><Relationship Id="rId83" Type="http://schemas.openxmlformats.org/officeDocument/2006/relationships/slideLayout" Target="../slideLayouts/slideLayout189.xml"/><Relationship Id="rId88" Type="http://schemas.openxmlformats.org/officeDocument/2006/relationships/tags" Target="../tags/tag116.xml"/><Relationship Id="rId91" Type="http://schemas.openxmlformats.org/officeDocument/2006/relationships/image" Target="../media/image1.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 Id="rId57" Type="http://schemas.openxmlformats.org/officeDocument/2006/relationships/slideLayout" Target="../slideLayouts/slideLayout163.xml"/><Relationship Id="rId10" Type="http://schemas.openxmlformats.org/officeDocument/2006/relationships/slideLayout" Target="../slideLayouts/slideLayout116.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slideLayout" Target="../slideLayouts/slideLayout158.xml"/><Relationship Id="rId60" Type="http://schemas.openxmlformats.org/officeDocument/2006/relationships/slideLayout" Target="../slideLayouts/slideLayout166.xml"/><Relationship Id="rId65" Type="http://schemas.openxmlformats.org/officeDocument/2006/relationships/slideLayout" Target="../slideLayouts/slideLayout171.xml"/><Relationship Id="rId73" Type="http://schemas.openxmlformats.org/officeDocument/2006/relationships/slideLayout" Target="../slideLayouts/slideLayout179.xml"/><Relationship Id="rId78" Type="http://schemas.openxmlformats.org/officeDocument/2006/relationships/slideLayout" Target="../slideLayouts/slideLayout184.xml"/><Relationship Id="rId81" Type="http://schemas.openxmlformats.org/officeDocument/2006/relationships/slideLayout" Target="../slideLayouts/slideLayout187.xml"/><Relationship Id="rId86" Type="http://schemas.openxmlformats.org/officeDocument/2006/relationships/slideLayout" Target="../slideLayouts/slideLayout192.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3004484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972866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solidFill>
                  <a:srgbClr val="00148C"/>
                </a:solidFill>
              </a:rP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rgbClr val="00148C"/>
                </a:solidFill>
              </a:rPr>
              <a:t>National Grid </a:t>
            </a:r>
          </a:p>
        </p:txBody>
      </p:sp>
    </p:spTree>
    <p:extLst>
      <p:ext uri="{BB962C8B-B14F-4D97-AF65-F5344CB8AC3E}">
        <p14:creationId xmlns:p14="http://schemas.microsoft.com/office/powerpoint/2010/main" val="329270945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1" pos="2767">
          <p15:clr>
            <a:srgbClr val="F26B43"/>
          </p15:clr>
        </p15:guide>
        <p15:guide id="2" pos="5488">
          <p15:clr>
            <a:srgbClr val="F26B43"/>
          </p15:clr>
        </p15:guide>
        <p15:guide id="3" orient="horz" pos="3793">
          <p15:clr>
            <a:srgbClr val="F26B43"/>
          </p15:clr>
        </p15:guide>
        <p15:guide id="4" pos="272">
          <p15:clr>
            <a:srgbClr val="F26B43"/>
          </p15:clr>
        </p15:guide>
        <p15:guide id="5" pos="2993">
          <p15:clr>
            <a:srgbClr val="F26B43"/>
          </p15:clr>
        </p15:guide>
        <p15:guide id="6" orient="horz" pos="414">
          <p15:clr>
            <a:srgbClr val="F26B43"/>
          </p15:clr>
        </p15:guide>
        <p15:guide id="7" orient="horz" pos="889">
          <p15:clr>
            <a:srgbClr val="F26B43"/>
          </p15:clr>
        </p15:guide>
        <p15:guide id="8" pos="2064">
          <p15:clr>
            <a:srgbClr val="F26B43"/>
          </p15:clr>
        </p15:guide>
        <p15:guide id="9" pos="3855">
          <p15:clr>
            <a:srgbClr val="F26B43"/>
          </p15:clr>
        </p15:guide>
        <p15:guide id="10" pos="3696">
          <p15:clr>
            <a:srgbClr val="F26B43"/>
          </p15:clr>
        </p15:guide>
        <p15:guide id="11" pos="1905">
          <p15:clr>
            <a:srgbClr val="F26B43"/>
          </p15:clr>
        </p15:guide>
        <p15:guide id="12" orient="horz" pos="39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105936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17373226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 id="2147483813" r:id="rId44"/>
    <p:sldLayoutId id="2147483814" r:id="rId45"/>
    <p:sldLayoutId id="2147483815" r:id="rId46"/>
    <p:sldLayoutId id="2147483816" r:id="rId47"/>
    <p:sldLayoutId id="2147483817" r:id="rId48"/>
    <p:sldLayoutId id="2147483818" r:id="rId49"/>
    <p:sldLayoutId id="2147483819" r:id="rId50"/>
    <p:sldLayoutId id="2147483820" r:id="rId51"/>
    <p:sldLayoutId id="2147483821" r:id="rId52"/>
    <p:sldLayoutId id="2147483822" r:id="rId53"/>
    <p:sldLayoutId id="2147483823" r:id="rId54"/>
    <p:sldLayoutId id="2147483824" r:id="rId55"/>
    <p:sldLayoutId id="2147483825" r:id="rId56"/>
    <p:sldLayoutId id="2147483826" r:id="rId57"/>
    <p:sldLayoutId id="2147483827" r:id="rId58"/>
    <p:sldLayoutId id="2147483828" r:id="rId59"/>
    <p:sldLayoutId id="2147483829" r:id="rId60"/>
    <p:sldLayoutId id="2147483830" r:id="rId61"/>
    <p:sldLayoutId id="2147483831" r:id="rId62"/>
    <p:sldLayoutId id="2147483832" r:id="rId63"/>
    <p:sldLayoutId id="2147483833" r:id="rId64"/>
    <p:sldLayoutId id="2147483834" r:id="rId65"/>
    <p:sldLayoutId id="2147483835" r:id="rId66"/>
    <p:sldLayoutId id="2147483836" r:id="rId67"/>
    <p:sldLayoutId id="2147483837" r:id="rId68"/>
    <p:sldLayoutId id="2147483838" r:id="rId69"/>
    <p:sldLayoutId id="2147483839" r:id="rId70"/>
    <p:sldLayoutId id="2147483840" r:id="rId71"/>
    <p:sldLayoutId id="2147483841" r:id="rId72"/>
    <p:sldLayoutId id="2147483842" r:id="rId73"/>
    <p:sldLayoutId id="2147483843" r:id="rId74"/>
    <p:sldLayoutId id="2147483844" r:id="rId75"/>
    <p:sldLayoutId id="2147483845" r:id="rId76"/>
    <p:sldLayoutId id="2147483846" r:id="rId77"/>
    <p:sldLayoutId id="2147483847" r:id="rId78"/>
    <p:sldLayoutId id="2147483848" r:id="rId79"/>
    <p:sldLayoutId id="2147483849" r:id="rId80"/>
    <p:sldLayoutId id="2147483850" r:id="rId81"/>
    <p:sldLayoutId id="2147483851" r:id="rId82"/>
    <p:sldLayoutId id="2147483852" r:id="rId83"/>
    <p:sldLayoutId id="2147483853" r:id="rId84"/>
    <p:sldLayoutId id="2147483854" r:id="rId85"/>
    <p:sldLayoutId id="2147483855"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EDP Architecture</a:t>
            </a:r>
          </a:p>
        </p:txBody>
      </p:sp>
      <p:pic>
        <p:nvPicPr>
          <p:cNvPr id="12" name="Picture 11">
            <a:extLst>
              <a:ext uri="{FF2B5EF4-FFF2-40B4-BE49-F238E27FC236}">
                <a16:creationId xmlns:a16="http://schemas.microsoft.com/office/drawing/2014/main" id="{656463EB-40B3-432B-ABF7-890CB588AA2B}"/>
              </a:ext>
            </a:extLst>
          </p:cNvPr>
          <p:cNvPicPr>
            <a:picLocks noChangeAspect="1"/>
          </p:cNvPicPr>
          <p:nvPr/>
        </p:nvPicPr>
        <p:blipFill>
          <a:blip r:embed="rId2"/>
          <a:stretch>
            <a:fillRect/>
          </a:stretch>
        </p:blipFill>
        <p:spPr>
          <a:xfrm>
            <a:off x="4362162" y="5999629"/>
            <a:ext cx="3060371" cy="817496"/>
          </a:xfrm>
          <a:prstGeom prst="rect">
            <a:avLst/>
          </a:prstGeom>
        </p:spPr>
      </p:pic>
      <p:pic>
        <p:nvPicPr>
          <p:cNvPr id="14" name="Picture 13">
            <a:extLst>
              <a:ext uri="{FF2B5EF4-FFF2-40B4-BE49-F238E27FC236}">
                <a16:creationId xmlns:a16="http://schemas.microsoft.com/office/drawing/2014/main" id="{0CCC4D33-09E5-4DA5-9730-4543D4875D54}"/>
              </a:ext>
            </a:extLst>
          </p:cNvPr>
          <p:cNvPicPr>
            <a:picLocks noChangeAspect="1"/>
          </p:cNvPicPr>
          <p:nvPr/>
        </p:nvPicPr>
        <p:blipFill>
          <a:blip r:embed="rId3"/>
          <a:stretch>
            <a:fillRect/>
          </a:stretch>
        </p:blipFill>
        <p:spPr>
          <a:xfrm>
            <a:off x="1644650" y="430820"/>
            <a:ext cx="8902700" cy="5607050"/>
          </a:xfrm>
          <a:prstGeom prst="rect">
            <a:avLst/>
          </a:prstGeom>
        </p:spPr>
      </p:pic>
    </p:spTree>
    <p:extLst>
      <p:ext uri="{BB962C8B-B14F-4D97-AF65-F5344CB8AC3E}">
        <p14:creationId xmlns:p14="http://schemas.microsoft.com/office/powerpoint/2010/main" val="3748273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Snowflake High Usage Patterns</a:t>
            </a:r>
          </a:p>
        </p:txBody>
      </p:sp>
      <p:graphicFrame>
        <p:nvGraphicFramePr>
          <p:cNvPr id="2" name="Table 2">
            <a:extLst>
              <a:ext uri="{FF2B5EF4-FFF2-40B4-BE49-F238E27FC236}">
                <a16:creationId xmlns:a16="http://schemas.microsoft.com/office/drawing/2014/main" id="{12D9A9EB-CD4F-41A5-983F-EEF2232FA28E}"/>
              </a:ext>
            </a:extLst>
          </p:cNvPr>
          <p:cNvGraphicFramePr>
            <a:graphicFrameLocks noGrp="1"/>
          </p:cNvGraphicFramePr>
          <p:nvPr>
            <p:extLst>
              <p:ext uri="{D42A27DB-BD31-4B8C-83A1-F6EECF244321}">
                <p14:modId xmlns:p14="http://schemas.microsoft.com/office/powerpoint/2010/main" val="4223884391"/>
              </p:ext>
            </p:extLst>
          </p:nvPr>
        </p:nvGraphicFramePr>
        <p:xfrm>
          <a:off x="801914" y="599922"/>
          <a:ext cx="10933350" cy="5419878"/>
        </p:xfrm>
        <a:graphic>
          <a:graphicData uri="http://schemas.openxmlformats.org/drawingml/2006/table">
            <a:tbl>
              <a:tblPr firstRow="1" bandRow="1">
                <a:tableStyleId>{5C22544A-7EE6-4342-B048-85BDC9FD1C3A}</a:tableStyleId>
              </a:tblPr>
              <a:tblGrid>
                <a:gridCol w="839525">
                  <a:extLst>
                    <a:ext uri="{9D8B030D-6E8A-4147-A177-3AD203B41FA5}">
                      <a16:colId xmlns:a16="http://schemas.microsoft.com/office/drawing/2014/main" val="1794952689"/>
                    </a:ext>
                  </a:extLst>
                </a:gridCol>
                <a:gridCol w="4171532">
                  <a:extLst>
                    <a:ext uri="{9D8B030D-6E8A-4147-A177-3AD203B41FA5}">
                      <a16:colId xmlns:a16="http://schemas.microsoft.com/office/drawing/2014/main" val="2206674063"/>
                    </a:ext>
                  </a:extLst>
                </a:gridCol>
                <a:gridCol w="5922293">
                  <a:extLst>
                    <a:ext uri="{9D8B030D-6E8A-4147-A177-3AD203B41FA5}">
                      <a16:colId xmlns:a16="http://schemas.microsoft.com/office/drawing/2014/main" val="2078928493"/>
                    </a:ext>
                  </a:extLst>
                </a:gridCol>
              </a:tblGrid>
              <a:tr h="903313">
                <a:tc>
                  <a:txBody>
                    <a:bodyPr/>
                    <a:lstStyle/>
                    <a:p>
                      <a:r>
                        <a:rPr lang="en-US" dirty="0"/>
                        <a:t>#</a:t>
                      </a:r>
                    </a:p>
                  </a:txBody>
                  <a:tcPr/>
                </a:tc>
                <a:tc>
                  <a:txBody>
                    <a:bodyPr/>
                    <a:lstStyle/>
                    <a:p>
                      <a:r>
                        <a:rPr lang="en-US" dirty="0"/>
                        <a:t>Use Case</a:t>
                      </a:r>
                    </a:p>
                  </a:txBody>
                  <a:tcPr/>
                </a:tc>
                <a:tc>
                  <a:txBody>
                    <a:bodyPr/>
                    <a:lstStyle/>
                    <a:p>
                      <a:r>
                        <a:rPr lang="en-US" dirty="0"/>
                        <a:t>Snowflake Pattern Detail</a:t>
                      </a:r>
                    </a:p>
                  </a:txBody>
                  <a:tcPr/>
                </a:tc>
                <a:extLst>
                  <a:ext uri="{0D108BD9-81ED-4DB2-BD59-A6C34878D82A}">
                    <a16:rowId xmlns:a16="http://schemas.microsoft.com/office/drawing/2014/main" val="2834917730"/>
                  </a:ext>
                </a:extLst>
              </a:tr>
              <a:tr h="903313">
                <a:tc>
                  <a:txBody>
                    <a:bodyPr/>
                    <a:lstStyle/>
                    <a:p>
                      <a:r>
                        <a:rPr lang="en-US" dirty="0"/>
                        <a:t>1</a:t>
                      </a:r>
                    </a:p>
                  </a:txBody>
                  <a:tcPr/>
                </a:tc>
                <a:tc>
                  <a:txBody>
                    <a:bodyPr/>
                    <a:lstStyle/>
                    <a:p>
                      <a:r>
                        <a:rPr lang="en-US" sz="1800" b="0" i="0" u="none" strike="noStrike" kern="1200" baseline="0" dirty="0">
                          <a:solidFill>
                            <a:schemeClr val="dk1"/>
                          </a:solidFill>
                          <a:latin typeface="+mn-lt"/>
                          <a:ea typeface="+mn-ea"/>
                          <a:cs typeface="+mn-cs"/>
                        </a:rPr>
                        <a:t>IoT low-latency continuous Streaming</a:t>
                      </a:r>
                      <a:endParaRPr lang="en-US" dirty="0"/>
                    </a:p>
                  </a:txBody>
                  <a:tcPr/>
                </a:tc>
                <a:tc>
                  <a:txBody>
                    <a:bodyPr/>
                    <a:lstStyle/>
                    <a:p>
                      <a:endParaRPr lang="en-US"/>
                    </a:p>
                  </a:txBody>
                  <a:tcPr/>
                </a:tc>
                <a:extLst>
                  <a:ext uri="{0D108BD9-81ED-4DB2-BD59-A6C34878D82A}">
                    <a16:rowId xmlns:a16="http://schemas.microsoft.com/office/drawing/2014/main" val="2986768553"/>
                  </a:ext>
                </a:extLst>
              </a:tr>
              <a:tr h="903313">
                <a:tc>
                  <a:txBody>
                    <a:bodyPr/>
                    <a:lstStyle/>
                    <a:p>
                      <a:r>
                        <a:rPr lang="en-US"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Longitudinal Time-Series (CDC)</a:t>
                      </a:r>
                    </a:p>
                  </a:txBody>
                  <a:tcPr/>
                </a:tc>
                <a:tc>
                  <a:txBody>
                    <a:bodyPr/>
                    <a:lstStyle/>
                    <a:p>
                      <a:endParaRPr lang="en-US"/>
                    </a:p>
                  </a:txBody>
                  <a:tcPr/>
                </a:tc>
                <a:extLst>
                  <a:ext uri="{0D108BD9-81ED-4DB2-BD59-A6C34878D82A}">
                    <a16:rowId xmlns:a16="http://schemas.microsoft.com/office/drawing/2014/main" val="3440013634"/>
                  </a:ext>
                </a:extLst>
              </a:tr>
              <a:tr h="903313">
                <a:tc>
                  <a:txBody>
                    <a:bodyPr/>
                    <a:lstStyle/>
                    <a:p>
                      <a:r>
                        <a:rPr lang="en-US" dirty="0"/>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Batch and Micro-Batch</a:t>
                      </a:r>
                    </a:p>
                  </a:txBody>
                  <a:tcPr/>
                </a:tc>
                <a:tc>
                  <a:txBody>
                    <a:bodyPr/>
                    <a:lstStyle/>
                    <a:p>
                      <a:endParaRPr lang="en-US"/>
                    </a:p>
                  </a:txBody>
                  <a:tcPr/>
                </a:tc>
                <a:extLst>
                  <a:ext uri="{0D108BD9-81ED-4DB2-BD59-A6C34878D82A}">
                    <a16:rowId xmlns:a16="http://schemas.microsoft.com/office/drawing/2014/main" val="1659666496"/>
                  </a:ext>
                </a:extLst>
              </a:tr>
              <a:tr h="903313">
                <a:tc>
                  <a:txBody>
                    <a:bodyPr/>
                    <a:lstStyle/>
                    <a:p>
                      <a:r>
                        <a:rPr lang="en-US" dirty="0"/>
                        <a:t>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Geospatial</a:t>
                      </a:r>
                    </a:p>
                  </a:txBody>
                  <a:tcPr/>
                </a:tc>
                <a:tc>
                  <a:txBody>
                    <a:bodyPr/>
                    <a:lstStyle/>
                    <a:p>
                      <a:endParaRPr lang="en-US"/>
                    </a:p>
                  </a:txBody>
                  <a:tcPr/>
                </a:tc>
                <a:extLst>
                  <a:ext uri="{0D108BD9-81ED-4DB2-BD59-A6C34878D82A}">
                    <a16:rowId xmlns:a16="http://schemas.microsoft.com/office/drawing/2014/main" val="3549596358"/>
                  </a:ext>
                </a:extLst>
              </a:tr>
              <a:tr h="903313">
                <a:tc>
                  <a:txBody>
                    <a:bodyPr/>
                    <a:lstStyle/>
                    <a:p>
                      <a:r>
                        <a:rPr lang="en-US" dirty="0"/>
                        <a:t>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Data Curation/Enrichment</a:t>
                      </a:r>
                    </a:p>
                  </a:txBody>
                  <a:tcPr/>
                </a:tc>
                <a:tc>
                  <a:txBody>
                    <a:bodyPr/>
                    <a:lstStyle/>
                    <a:p>
                      <a:endParaRPr lang="en-US" dirty="0"/>
                    </a:p>
                  </a:txBody>
                  <a:tcPr/>
                </a:tc>
                <a:extLst>
                  <a:ext uri="{0D108BD9-81ED-4DB2-BD59-A6C34878D82A}">
                    <a16:rowId xmlns:a16="http://schemas.microsoft.com/office/drawing/2014/main" val="2672519335"/>
                  </a:ext>
                </a:extLst>
              </a:tr>
            </a:tbl>
          </a:graphicData>
        </a:graphic>
      </p:graphicFrame>
    </p:spTree>
    <p:extLst>
      <p:ext uri="{BB962C8B-B14F-4D97-AF65-F5344CB8AC3E}">
        <p14:creationId xmlns:p14="http://schemas.microsoft.com/office/powerpoint/2010/main" val="3183067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3_US PPT 2018 4x3_template_internal or external">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9E405E24-4D8F-45E9-B7C1-DE8CFE413F7C}" vid="{32376E27-65FC-4E1F-8C9A-962F9B38E9F9}"/>
    </a:ext>
  </a:extLst>
</a:theme>
</file>

<file path=ppt/theme/theme3.xml><?xml version="1.0" encoding="utf-8"?>
<a:theme xmlns:a="http://schemas.openxmlformats.org/drawingml/2006/main" name="1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01484cb-4692-40f6-9cd8-9f96d07aad89">
      <UserInfo>
        <DisplayName>Towne, Tom A. (ITNY)</DisplayName>
        <AccountId>6</AccountId>
        <AccountType/>
      </UserInfo>
    </SharedWithUsers>
  </documentManagement>
</p:properties>
</file>

<file path=customXml/itemProps1.xml><?xml version="1.0" encoding="utf-8"?>
<ds:datastoreItem xmlns:ds="http://schemas.openxmlformats.org/officeDocument/2006/customXml" ds:itemID="{70C9D802-8436-419C-8E37-24C1A62FE1ED}">
  <ds:schemaRefs>
    <ds:schemaRef ds:uri="http://schemas.microsoft.com/sharepoint/v3/contenttype/forms"/>
  </ds:schemaRefs>
</ds:datastoreItem>
</file>

<file path=customXml/itemProps2.xml><?xml version="1.0" encoding="utf-8"?>
<ds:datastoreItem xmlns:ds="http://schemas.openxmlformats.org/officeDocument/2006/customXml" ds:itemID="{8D1774AB-BA4D-4E15-9C14-0FA1A069055D}">
  <ds:schemaRefs>
    <ds:schemaRef ds:uri="44563e85-d93e-468a-97fd-88b2feb52b2e"/>
    <ds:schemaRef ds:uri="701484cb-4692-40f6-9cd8-9f96d07aad8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9120B65-2056-41E6-899A-3600A3D20EE8}">
  <ds:schemaRef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701484cb-4692-40f6-9cd8-9f96d07aad89"/>
    <ds:schemaRef ds:uri="44563e85-d93e-468a-97fd-88b2feb52b2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43</TotalTime>
  <Words>34</Words>
  <Application>Microsoft Office PowerPoint</Application>
  <PresentationFormat>Widescreen</PresentationFormat>
  <Paragraphs>15</Paragraphs>
  <Slides>2</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9" baseType="lpstr">
      <vt:lpstr>Arial</vt:lpstr>
      <vt:lpstr>Calibri</vt:lpstr>
      <vt:lpstr>Trebuchet MS</vt:lpstr>
      <vt:lpstr>10_NationalGrid Grid 16:9</vt:lpstr>
      <vt:lpstr>3_US PPT 2018 4x3_template_internal or external</vt:lpstr>
      <vt:lpstr>11_NationalGrid Grid 16:9</vt:lpstr>
      <vt:lpstr>think-cell Slide</vt:lpstr>
      <vt:lpstr>EDP Architecture</vt:lpstr>
      <vt:lpstr>Snowflake High Usage Patter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form Advantage for UK Initiate with Data Lake Migration  then see benefits accelerate</dc:title>
  <dc:creator>Connolly, Bryan</dc:creator>
  <cp:lastModifiedBy>Ajwaliya, Nishit</cp:lastModifiedBy>
  <cp:revision>3</cp:revision>
  <dcterms:created xsi:type="dcterms:W3CDTF">2021-07-01T11:47:57Z</dcterms:created>
  <dcterms:modified xsi:type="dcterms:W3CDTF">2021-07-27T23:3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